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353"/>
    <a:srgbClr val="A6A6A6"/>
    <a:srgbClr val="2850A0"/>
    <a:srgbClr val="3264C8"/>
    <a:srgbClr val="7F9FDF"/>
    <a:srgbClr val="003399"/>
    <a:srgbClr val="A7BDE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426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9056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67637" y="116999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2850A0"/>
                </a:solidFill>
              </a:rPr>
              <a:t>Program Example #1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2850A0"/>
                </a:solidFill>
              </a:rPr>
              <a:t>Program Example #1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Organi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509705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485000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486061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584762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800762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016762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32762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231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08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16641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566604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390478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07517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896172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367361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716930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352009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24849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509358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584762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800762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016762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23276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517000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847368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982383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856325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888133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888940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3032924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861048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Organi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rporate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6016</Words>
  <Application>Microsoft Office PowerPoint</Application>
  <PresentationFormat>Breitbild</PresentationFormat>
  <Paragraphs>809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B4P: Real-world Use Case #1 Corporate data integration from branch offices worldwide</vt:lpstr>
      <vt:lpstr>B4P: Real-world Use Case #2 Information interchange between multiple different databases</vt:lpstr>
      <vt:lpstr>B4P: Real-world Use Case #3 Enriched Business Intelligence from many data sources</vt:lpstr>
      <vt:lpstr>B4P: The Language Key Benefits of a Low-Code Language Approach</vt:lpstr>
      <vt:lpstr>B4P: The Language Language Syntax and Semantics</vt:lpstr>
      <vt:lpstr>Program Example #1 Merging Two Tables</vt:lpstr>
      <vt:lpstr>8 statements:  load, clean, align semantics, merge, and save</vt:lpstr>
      <vt:lpstr>PowerPoint-Präsentation</vt:lpstr>
      <vt:lpstr>Program Example #2 Combining Stock Data: SP 500 and NASDAQ 100</vt:lpstr>
      <vt:lpstr>Program Example #2 Combining Stock Data: SP 500 and NASDAQ 100</vt:lpstr>
      <vt:lpstr>Program Example #3 Web Data: Organizing all Presidents in Wikipedia</vt:lpstr>
      <vt:lpstr>Program Example #3 Web Data: Organi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-Präsentation</vt:lpstr>
      <vt:lpstr>PowerPoint-Präsentation</vt:lpstr>
      <vt:lpstr>PowerPoint-Präsentation</vt:lpstr>
      <vt:lpstr>PowerPoint-Prä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56</cp:revision>
  <cp:lastPrinted>2012-05-04T14:30:29Z</cp:lastPrinted>
  <dcterms:created xsi:type="dcterms:W3CDTF">2016-02-06T20:40:56Z</dcterms:created>
  <dcterms:modified xsi:type="dcterms:W3CDTF">2021-05-20T18:38:40Z</dcterms:modified>
</cp:coreProperties>
</file>